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2" r:id="rId3"/>
    <p:sldId id="2146847077" r:id="rId4"/>
    <p:sldId id="2146846799" r:id="rId5"/>
    <p:sldId id="2146847059" r:id="rId6"/>
    <p:sldId id="2146847089" r:id="rId7"/>
    <p:sldId id="2146847091" r:id="rId8"/>
    <p:sldId id="2146847054" r:id="rId9"/>
    <p:sldId id="2146846791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BM Plex Sans Light" panose="020B0403050203000203" pitchFamily="34" charset="0"/>
      <p:regular r:id="rId21"/>
      <p:italic r:id="rId22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85"/>
    <p:restoredTop sz="96344"/>
  </p:normalViewPr>
  <p:slideViewPr>
    <p:cSldViewPr snapToGrid="0" snapToObjects="1">
      <p:cViewPr varScale="1">
        <p:scale>
          <a:sx n="211" d="100"/>
          <a:sy n="211" d="100"/>
        </p:scale>
        <p:origin x="760" y="19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40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27226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0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hyperlink" Target="https://ibm.ent.box.com/s/4yskrkefl1ssjxjmxx3kln87z5on4thx" TargetMode="Externa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techzone.ibm.com/collection/platinum-demos-straight-through-processin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3.jp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3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3.jp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docs/en/cloud-paks/cp-biz-automation/21.0.x?topic=visualization-business-performance-center" TargetMode="External"/><Relationship Id="rId3" Type="http://schemas.openxmlformats.org/officeDocument/2006/relationships/hyperlink" Target="https://www.ibm.com/docs/en/baw/20.x?topic=management-building-process-applications" TargetMode="External"/><Relationship Id="rId7" Type="http://schemas.openxmlformats.org/officeDocument/2006/relationships/hyperlink" Target="https://www.ibm.com/docs/en/cloud-paks/cp-biz-automation/21.0.x?topic=insights-discovering-business-automation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odmoc?topic=cloud-testing-decision-services" TargetMode="External"/><Relationship Id="rId5" Type="http://schemas.openxmlformats.org/officeDocument/2006/relationships/hyperlink" Target="https://www.ibm.com/docs/en/odmoc?topic=cloud-creating-decision-services" TargetMode="External"/><Relationship Id="rId4" Type="http://schemas.openxmlformats.org/officeDocument/2006/relationships/hyperlink" Target="https://www.ibm.com/docs/en/baw/20.x?topic=management-participating-in-process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raight-through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8">
            <a:extLst>
              <a:ext uri="{FF2B5EF4-FFF2-40B4-BE49-F238E27FC236}">
                <a16:creationId xmlns:a16="http://schemas.microsoft.com/office/drawing/2014/main" id="{BF358172-52A0-1226-F53F-F249319535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974401"/>
              </p:ext>
            </p:extLst>
          </p:nvPr>
        </p:nvGraphicFramePr>
        <p:xfrm>
          <a:off x="228665" y="692448"/>
          <a:ext cx="8705023" cy="31902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2019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8483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ight-through processing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customer refund example to illustrate how the Cloud Pak for Business Automation enables straight-through processing.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 as a Service</a:t>
                      </a:r>
                    </a:p>
                    <a:p>
                      <a:r>
                        <a:rPr lang="en-US" sz="1100" i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Alternatively, the demo can be hosted on Cloud Pak for Business Automation on ROKS]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flow; Decision management; Operational intelligen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 as a Service (SaaS)</a:t>
                      </a:r>
                    </a:p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If ROKS, Cloud Pak for Business Automation 21.0.2]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techzone.ibm.com/collection/platinum-demos-straight-through-processing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5"/>
                        </a:rPr>
                        <a:t>https://ibm.ent.box.com/s/4yskrkefl1ssjxjmxx3kln87z5on4thx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29061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6EDB1330-5638-0F4A-8859-15193EFA1A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894" y="3761950"/>
            <a:ext cx="6913643" cy="12545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42F6F4F-2368-0148-921F-0B715F343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66254" y="3875024"/>
            <a:ext cx="2157984" cy="917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nagemen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E70B28F-E502-3F4A-A466-9690276D0D41}"/>
              </a:ext>
            </a:extLst>
          </p:cNvPr>
          <p:cNvGrpSpPr/>
          <p:nvPr/>
        </p:nvGrpSpPr>
        <p:grpSpPr>
          <a:xfrm>
            <a:off x="4481057" y="4266833"/>
            <a:ext cx="1528376" cy="371488"/>
            <a:chOff x="5153701" y="4260040"/>
            <a:chExt cx="1334091" cy="371488"/>
          </a:xfrm>
        </p:grpSpPr>
        <p:sp>
          <p:nvSpPr>
            <p:cNvPr id="56" name="Rectangle 3">
              <a:extLst>
                <a:ext uri="{FF2B5EF4-FFF2-40B4-BE49-F238E27FC236}">
                  <a16:creationId xmlns:a16="http://schemas.microsoft.com/office/drawing/2014/main" id="{80B94A2B-5D31-BA40-A643-1805EF1EF8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849262" y="4260040"/>
              <a:ext cx="638530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57" name="Rectangle 3">
              <a:extLst>
                <a:ext uri="{FF2B5EF4-FFF2-40B4-BE49-F238E27FC236}">
                  <a16:creationId xmlns:a16="http://schemas.microsoft.com/office/drawing/2014/main" id="{5A450628-5162-2D4F-97FC-9E52711D8F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153701" y="4260422"/>
              <a:ext cx="638530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50" name="Rectangle 3">
            <a:extLst>
              <a:ext uri="{FF2B5EF4-FFF2-40B4-BE49-F238E27FC236}">
                <a16:creationId xmlns:a16="http://schemas.microsoft.com/office/drawing/2014/main" id="{3C99431D-9F30-4E4B-BEFF-0E45CC8F10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98967" y="3880366"/>
            <a:ext cx="2157045" cy="917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6A92B5F-CE9B-B348-AF18-03D93AE3B0A6}"/>
              </a:ext>
            </a:extLst>
          </p:cNvPr>
          <p:cNvGrpSpPr/>
          <p:nvPr/>
        </p:nvGrpSpPr>
        <p:grpSpPr>
          <a:xfrm>
            <a:off x="1979935" y="4263416"/>
            <a:ext cx="1995108" cy="374905"/>
            <a:chOff x="2157556" y="2439836"/>
            <a:chExt cx="3055355" cy="574138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AEAD252B-CD94-2E4E-B59D-A98F8CF760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260684" y="2439836"/>
              <a:ext cx="952227" cy="5741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138A7A42-5454-A949-9530-F7AE462B25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57556" y="2439843"/>
              <a:ext cx="952227" cy="5741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54" name="Rectangle 3">
              <a:extLst>
                <a:ext uri="{FF2B5EF4-FFF2-40B4-BE49-F238E27FC236}">
                  <a16:creationId xmlns:a16="http://schemas.microsoft.com/office/drawing/2014/main" id="{DB2F2F27-2A83-A244-840D-DC8516F3B9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209120" y="2439837"/>
              <a:ext cx="952227" cy="5741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</p:grpSp>
      <p:sp>
        <p:nvSpPr>
          <p:cNvPr id="70" name="Rectangle 3">
            <a:extLst>
              <a:ext uri="{FF2B5EF4-FFF2-40B4-BE49-F238E27FC236}">
                <a16:creationId xmlns:a16="http://schemas.microsoft.com/office/drawing/2014/main" id="{107F23DC-6221-5E4F-B370-98123E09A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34479" y="3875024"/>
            <a:ext cx="2157984" cy="917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 intelligence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1072E16-079F-454E-A566-19C102C09154}"/>
              </a:ext>
            </a:extLst>
          </p:cNvPr>
          <p:cNvGrpSpPr/>
          <p:nvPr/>
        </p:nvGrpSpPr>
        <p:grpSpPr>
          <a:xfrm>
            <a:off x="6748770" y="4266833"/>
            <a:ext cx="1529402" cy="371488"/>
            <a:chOff x="5153254" y="4260040"/>
            <a:chExt cx="1334986" cy="371488"/>
          </a:xfrm>
        </p:grpSpPr>
        <p:sp>
          <p:nvSpPr>
            <p:cNvPr id="72" name="Rectangle 3">
              <a:extLst>
                <a:ext uri="{FF2B5EF4-FFF2-40B4-BE49-F238E27FC236}">
                  <a16:creationId xmlns:a16="http://schemas.microsoft.com/office/drawing/2014/main" id="{D3B3ABA4-A251-0745-8D7E-A82B59E77E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49262" y="4260040"/>
              <a:ext cx="638978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shboards</a:t>
              </a:r>
            </a:p>
          </p:txBody>
        </p:sp>
        <p:sp>
          <p:nvSpPr>
            <p:cNvPr id="73" name="Rectangle 3">
              <a:extLst>
                <a:ext uri="{FF2B5EF4-FFF2-40B4-BE49-F238E27FC236}">
                  <a16:creationId xmlns:a16="http://schemas.microsoft.com/office/drawing/2014/main" id="{38B968E5-96A0-5F46-BFAC-AE4D076BA0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153254" y="4260422"/>
              <a:ext cx="638978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ing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F5A44C7-0980-5745-9A4F-A5D9C3828766}"/>
              </a:ext>
            </a:extLst>
          </p:cNvPr>
          <p:cNvSpPr txBox="1"/>
          <p:nvPr/>
        </p:nvSpPr>
        <p:spPr>
          <a:xfrm>
            <a:off x="1788894" y="4801035"/>
            <a:ext cx="69136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 as a Service (IBM hosted and managed)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1407583-18EF-5051-D645-18F3BE767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0977525-905C-8042-93E4-96DB5EA7F460}"/>
              </a:ext>
            </a:extLst>
          </p:cNvPr>
          <p:cNvSpPr txBox="1"/>
          <p:nvPr/>
        </p:nvSpPr>
        <p:spPr>
          <a:xfrm>
            <a:off x="1788424" y="3544756"/>
            <a:ext cx="69136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</p:spTree>
    <p:extLst>
      <p:ext uri="{BB962C8B-B14F-4D97-AF65-F5344CB8AC3E}">
        <p14:creationId xmlns:p14="http://schemas.microsoft.com/office/powerpoint/2010/main" val="214581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F5D5649D-80BD-6C78-E98C-9988DC639086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0212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930815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137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5779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D640BF7-B8C5-3319-886E-CA9694F64068}"/>
              </a:ext>
            </a:extLst>
          </p:cNvPr>
          <p:cNvGrpSpPr/>
          <p:nvPr/>
        </p:nvGrpSpPr>
        <p:grpSpPr>
          <a:xfrm>
            <a:off x="2602618" y="4143191"/>
            <a:ext cx="5739305" cy="483254"/>
            <a:chOff x="2602618" y="4173469"/>
            <a:chExt cx="5739305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602619" y="4173469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990032F-438D-7B4D-92E0-87BE922C0EE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12980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062C80D-D612-5B40-84ED-64EB1151A7B1}"/>
                </a:ext>
              </a:extLst>
            </p:cNvPr>
            <p:cNvSpPr/>
            <p:nvPr/>
          </p:nvSpPr>
          <p:spPr>
            <a:xfrm>
              <a:off x="2602618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4512979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6431355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al intelligence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25447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421EA1-F6E4-4947-A53E-2F8958B40153}"/>
              </a:ext>
            </a:extLst>
          </p:cNvPr>
          <p:cNvGrpSpPr/>
          <p:nvPr/>
        </p:nvGrpSpPr>
        <p:grpSpPr>
          <a:xfrm>
            <a:off x="1128111" y="1175728"/>
            <a:ext cx="6887779" cy="2462046"/>
            <a:chOff x="321522" y="1249072"/>
            <a:chExt cx="5558887" cy="2462046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0B183FB8-4831-B644-943B-4E48986119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21522" y="1249072"/>
              <a:ext cx="3726800" cy="81975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Focus Corp uses workflow to automate its end-to-end customer refund process. However, each request needs to be routed to a customer service agent for resolution and approval.</a:t>
              </a:r>
            </a:p>
          </p:txBody>
        </p:sp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F8FF6922-10A2-AC4A-88A4-B4D2631A4D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238326" y="2068830"/>
              <a:ext cx="3726800" cy="822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creates business rules that can make real-time decisions to approve or deny 70% of refund requests, while still routing the other 30% to humans.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5EFB5C9F-192D-F94E-BC1D-824598CE22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55129" y="2888158"/>
              <a:ext cx="3725280" cy="8229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wants to increase straight-through processing to 80%. They use operational intelligence to monitor refund metrics and identify places to increase automation without increasing risk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616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C89DBAAE-B245-E682-BFFD-A600CD74E5D4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3F996B-5E95-4D46-B53C-FCF10FC1A669}"/>
              </a:ext>
            </a:extLst>
          </p:cNvPr>
          <p:cNvGrpSpPr/>
          <p:nvPr/>
        </p:nvGrpSpPr>
        <p:grpSpPr>
          <a:xfrm>
            <a:off x="1275976" y="797321"/>
            <a:ext cx="1731031" cy="1690176"/>
            <a:chOff x="118956" y="3101112"/>
            <a:chExt cx="2212829" cy="1690176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18956" y="3101112"/>
              <a:ext cx="221282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ual approvals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18956" y="3618411"/>
              <a:ext cx="2212829" cy="117287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ual approvals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aged by workflow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no straight-through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cessing)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28875B-5713-2C4F-AEA2-F532D8B88F4F}"/>
              </a:ext>
            </a:extLst>
          </p:cNvPr>
          <p:cNvGrpSpPr/>
          <p:nvPr/>
        </p:nvGrpSpPr>
        <p:grpSpPr>
          <a:xfrm>
            <a:off x="3706484" y="797420"/>
            <a:ext cx="1731030" cy="1689979"/>
            <a:chOff x="1955822" y="1764820"/>
            <a:chExt cx="2212826" cy="1689979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955822" y="1764820"/>
              <a:ext cx="2212826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cision modeling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955822" y="2284367"/>
              <a:ext cx="2212826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del decisions to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e refund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termination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36F63D-74C7-E54E-86F0-F262D838D463}"/>
              </a:ext>
            </a:extLst>
          </p:cNvPr>
          <p:cNvGrpSpPr/>
          <p:nvPr/>
        </p:nvGrpSpPr>
        <p:grpSpPr>
          <a:xfrm>
            <a:off x="6136991" y="793207"/>
            <a:ext cx="1731030" cy="1698404"/>
            <a:chOff x="3497729" y="1764942"/>
            <a:chExt cx="2065304" cy="1698404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97729" y="1764942"/>
              <a:ext cx="2065304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orkflow execution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97729" y="2292914"/>
              <a:ext cx="2065304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ll refund decisions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rom workflow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3112047" y="145566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5542554" y="145566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FF90811-0172-739B-D315-E93880B4B390}"/>
              </a:ext>
            </a:extLst>
          </p:cNvPr>
          <p:cNvGrpSpPr/>
          <p:nvPr/>
        </p:nvGrpSpPr>
        <p:grpSpPr>
          <a:xfrm>
            <a:off x="2489997" y="2649677"/>
            <a:ext cx="1731032" cy="1697216"/>
            <a:chOff x="2489997" y="2651889"/>
            <a:chExt cx="1731032" cy="16972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89997" y="2651889"/>
              <a:ext cx="1731031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cess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rovement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89998" y="3178673"/>
              <a:ext cx="1731031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ine decisions to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crease straight-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rough processing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8919A6A-4443-5AD7-0FFB-372D86A91F89}"/>
              </a:ext>
            </a:extLst>
          </p:cNvPr>
          <p:cNvGrpSpPr/>
          <p:nvPr/>
        </p:nvGrpSpPr>
        <p:grpSpPr>
          <a:xfrm>
            <a:off x="4922971" y="2653296"/>
            <a:ext cx="1731030" cy="1689979"/>
            <a:chOff x="4922971" y="2647466"/>
            <a:chExt cx="1731030" cy="168997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1" y="2647466"/>
              <a:ext cx="173103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tional</a:t>
              </a:r>
              <a:b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lligence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3"/>
              <a:ext cx="1731030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 operational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trics to identify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ion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rovements</a:t>
              </a: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7301" y="3311542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760274" y="3051877"/>
            <a:ext cx="643701" cy="633152"/>
            <a:chOff x="6674454" y="2968782"/>
            <a:chExt cx="643701" cy="63315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grpFill/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7568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B0C9C54D-1ED1-3E89-AAD0-CFD95C6B4450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CE41BB34-7C40-7E4B-9E2D-D3F38AF950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74301" y="1264094"/>
            <a:ext cx="7595398" cy="26153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73F44035-9D10-7247-9529-2BEE7AA078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35529" y="1556766"/>
            <a:ext cx="2286000" cy="20299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55C0D2-E77D-854F-8976-C1DEB6AB7678}"/>
              </a:ext>
            </a:extLst>
          </p:cNvPr>
          <p:cNvGrpSpPr/>
          <p:nvPr/>
        </p:nvGrpSpPr>
        <p:grpSpPr>
          <a:xfrm>
            <a:off x="3573702" y="2490084"/>
            <a:ext cx="2009654" cy="568320"/>
            <a:chOff x="1144687" y="3870904"/>
            <a:chExt cx="2009654" cy="568320"/>
          </a:xfrm>
        </p:grpSpPr>
        <p:sp>
          <p:nvSpPr>
            <p:cNvPr id="20" name="Rectangle 3">
              <a:extLst>
                <a:ext uri="{FF2B5EF4-FFF2-40B4-BE49-F238E27FC236}">
                  <a16:creationId xmlns:a16="http://schemas.microsoft.com/office/drawing/2014/main" id="{7E9D7F50-8D03-E94B-9004-37FD023050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85077" y="3870904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FFEDE4F3-FAA3-AB41-9463-1E765DE363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144687" y="3870904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23" name="Rectangle 3">
            <a:extLst>
              <a:ext uri="{FF2B5EF4-FFF2-40B4-BE49-F238E27FC236}">
                <a16:creationId xmlns:a16="http://schemas.microsoft.com/office/drawing/2014/main" id="{5FB19BC9-532E-9148-8FA8-32005DB6A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12604" y="1556656"/>
            <a:ext cx="2285169" cy="20299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1A2742B-9AFF-5F4A-8D3A-8E8726C5E703}"/>
              </a:ext>
            </a:extLst>
          </p:cNvPr>
          <p:cNvGrpSpPr/>
          <p:nvPr/>
        </p:nvGrpSpPr>
        <p:grpSpPr>
          <a:xfrm>
            <a:off x="1150360" y="2166610"/>
            <a:ext cx="2009657" cy="1215301"/>
            <a:chOff x="2416601" y="1920345"/>
            <a:chExt cx="2009657" cy="1215301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E417BF05-2F03-2749-BA56-44BF41D60F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456994" y="1920345"/>
              <a:ext cx="969264" cy="5669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ED22FEF-22FA-5747-A9D5-E4BCFAF87B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416601" y="1920345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AE683AE8-023C-9E47-977B-1190AB5008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942472" y="2567326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</p:grpSp>
      <p:sp>
        <p:nvSpPr>
          <p:cNvPr id="37" name="Rectangle 3">
            <a:extLst>
              <a:ext uri="{FF2B5EF4-FFF2-40B4-BE49-F238E27FC236}">
                <a16:creationId xmlns:a16="http://schemas.microsoft.com/office/drawing/2014/main" id="{EFF1B789-DED8-2B4A-8926-B80605D2A3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45396" y="1556656"/>
            <a:ext cx="2285999" cy="20299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ce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CD31AB0-E54D-4F4A-8868-524082CFFCF1}"/>
              </a:ext>
            </a:extLst>
          </p:cNvPr>
          <p:cNvGrpSpPr/>
          <p:nvPr/>
        </p:nvGrpSpPr>
        <p:grpSpPr>
          <a:xfrm>
            <a:off x="5984088" y="2489976"/>
            <a:ext cx="2008614" cy="568320"/>
            <a:chOff x="1145207" y="3870904"/>
            <a:chExt cx="2008614" cy="568320"/>
          </a:xfrm>
        </p:grpSpPr>
        <p:sp>
          <p:nvSpPr>
            <p:cNvPr id="39" name="Rectangle 3">
              <a:extLst>
                <a:ext uri="{FF2B5EF4-FFF2-40B4-BE49-F238E27FC236}">
                  <a16:creationId xmlns:a16="http://schemas.microsoft.com/office/drawing/2014/main" id="{8B7D1E53-15F6-4340-91D2-49F42903F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85078" y="3870904"/>
              <a:ext cx="96874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shboards</a:t>
              </a:r>
            </a:p>
          </p:txBody>
        </p:sp>
        <p:sp>
          <p:nvSpPr>
            <p:cNvPr id="40" name="Rectangle 3">
              <a:extLst>
                <a:ext uri="{FF2B5EF4-FFF2-40B4-BE49-F238E27FC236}">
                  <a16:creationId xmlns:a16="http://schemas.microsoft.com/office/drawing/2014/main" id="{FF3B8B9B-D34C-A747-BBDF-DF245EF2A2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145207" y="3870904"/>
              <a:ext cx="96874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4128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ight-through processing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ight-through processing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0" y="1113641"/>
            <a:ext cx="7434074" cy="3431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7432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ight-through processing</a:t>
            </a:r>
            <a:r>
              <a:rPr lang="en-US" sz="1500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ns turnaround times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s customer service</a:t>
            </a:r>
          </a:p>
          <a:p>
            <a:pPr marL="800100" lvl="1" indent="-227013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s manual work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nagement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s decisions that would otherwise be manual. This is often the most effective way to increase straight-through processing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ages exceptions, ensuring the process doesn’t fail when it encounters an unexpected situation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graphical interface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line-of-business SMEs to be fully involved in leading the digital transformation effort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percentage of straight-through processing can translate to significant cost benefits. </a:t>
            </a: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clients often achieve 80% straight-through processing. </a:t>
            </a:r>
            <a:endParaRPr lang="en-US" sz="15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467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B6C1C4D1-CA53-B82C-B783-6923A27D137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ilding process application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icipating in process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eating decision servic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sting decision servic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scovering operational insight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 monitoring and dashboard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4296</TotalTime>
  <Words>575</Words>
  <Application>Microsoft Macintosh PowerPoint</Application>
  <PresentationFormat>On-screen Show (16:9)</PresentationFormat>
  <Paragraphs>115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114</cp:revision>
  <cp:lastPrinted>2019-04-25T15:14:05Z</cp:lastPrinted>
  <dcterms:created xsi:type="dcterms:W3CDTF">2022-03-29T18:01:01Z</dcterms:created>
  <dcterms:modified xsi:type="dcterms:W3CDTF">2022-06-24T20:52:57Z</dcterms:modified>
</cp:coreProperties>
</file>